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Default Extension="png" ContentType="image/png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Default Extension="jpeg" ContentType="image/jpeg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432" r:id="rId2"/>
    <p:sldId id="399" r:id="rId3"/>
    <p:sldId id="450" r:id="rId4"/>
    <p:sldId id="451" r:id="rId5"/>
    <p:sldId id="452" r:id="rId6"/>
    <p:sldId id="453" r:id="rId7"/>
    <p:sldId id="454" r:id="rId8"/>
    <p:sldId id="455" r:id="rId9"/>
    <p:sldId id="456" r:id="rId10"/>
    <p:sldId id="457" r:id="rId11"/>
    <p:sldId id="458" r:id="rId12"/>
    <p:sldId id="459" r:id="rId13"/>
  </p:sldIdLst>
  <p:sldSz cx="10058400" cy="7772400"/>
  <p:notesSz cx="7102475" cy="10233025"/>
  <p:custDataLst>
    <p:tags r:id="rId16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rgbClr val="FF0000"/>
    </p:penClr>
  </p:showPr>
  <p:clrMru>
    <a:srgbClr val="DC6900"/>
    <a:srgbClr val="FFC283"/>
    <a:srgbClr val="DCB900"/>
    <a:srgbClr val="FFB83D"/>
    <a:srgbClr val="FF4051"/>
    <a:srgbClr val="E7EBE0"/>
    <a:srgbClr val="CCFFFF"/>
    <a:srgbClr val="FCC3D7"/>
    <a:srgbClr val="C42303"/>
  </p:clrMru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51" autoAdjust="0"/>
    <p:restoredTop sz="99666" autoAdjust="0"/>
  </p:normalViewPr>
  <p:slideViewPr>
    <p:cSldViewPr snapToGrid="0">
      <p:cViewPr>
        <p:scale>
          <a:sx n="73" d="100"/>
          <a:sy n="73" d="100"/>
        </p:scale>
        <p:origin x="-1500" y="-312"/>
      </p:cViewPr>
      <p:guideLst>
        <p:guide orient="horz" pos="1401"/>
        <p:guide orient="horz" pos="4184"/>
        <p:guide pos="344"/>
        <p:guide pos="6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-1704" y="-72"/>
      </p:cViewPr>
      <p:guideLst>
        <p:guide orient="horz" pos="3223"/>
        <p:guide pos="2237"/>
      </p:guideLst>
    </p:cSldViewPr>
  </p:notes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DC50901-8E11-48E8-8A3E-8E8C700D774B}" type="datetimeFigureOut">
              <a:rPr lang="cs-CZ" smtClean="0"/>
              <a:pPr/>
              <a:t>22.3.2012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3D1D34EA-CEC2-4B14-B703-18C36C66D173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EFB8DA3-BCA9-4B7D-B50D-14F47506B614}" type="datetimeFigureOut">
              <a:rPr lang="cs-CZ" smtClean="0"/>
              <a:pPr/>
              <a:t>22.3.2012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766763"/>
            <a:ext cx="4962525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124" tIns="49062" rIns="98124" bIns="4906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7"/>
            <a:ext cx="5681980" cy="4604861"/>
          </a:xfrm>
          <a:prstGeom prst="rect">
            <a:avLst/>
          </a:prstGeom>
        </p:spPr>
        <p:txBody>
          <a:bodyPr vert="horz" lIns="98124" tIns="49062" rIns="98124" bIns="49062" rtlCol="0">
            <a:normAutofit/>
          </a:bodyPr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F07B8F03-BC93-4120-96CA-A36DF640BE24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</a:t>
            </a:fld>
            <a:endParaRPr lang="cs-CZ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0</a:t>
            </a:fld>
            <a:endParaRPr lang="cs-CZ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1</a:t>
            </a:fld>
            <a:endParaRPr lang="cs-CZ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2</a:t>
            </a:fld>
            <a:endParaRPr lang="cs-CZ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2</a:t>
            </a:fld>
            <a:endParaRPr lang="cs-CZ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3</a:t>
            </a:fld>
            <a:endParaRPr lang="cs-CZ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4</a:t>
            </a:fld>
            <a:endParaRPr lang="cs-CZ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5</a:t>
            </a:fld>
            <a:endParaRPr lang="cs-CZ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6</a:t>
            </a:fld>
            <a:endParaRPr lang="cs-CZ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7</a:t>
            </a:fld>
            <a:endParaRPr lang="cs-CZ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8</a:t>
            </a:fld>
            <a:endParaRPr lang="cs-CZ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9</a:t>
            </a:fld>
            <a:endParaRPr lang="cs-CZ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3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Section Divider style</a:t>
            </a:r>
            <a:endParaRPr lang="cs-CZ" noProof="0" dirty="0" smtClean="0"/>
          </a:p>
        </p:txBody>
      </p:sp>
      <p:sp>
        <p:nvSpPr>
          <p:cNvPr id="1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Appendix Divider style</a:t>
            </a:r>
            <a:endParaRPr lang="cs-CZ" noProof="0" dirty="0" smtClean="0"/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Appendix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noProof="0" smtClean="0"/>
              <a:t>Add legal and copyright disclaimers here.</a:t>
            </a:r>
            <a:endParaRPr lang="cs-CZ" noProof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smtClean="0"/>
              <a:t>Closing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cs-CZ" sz="1100" noProof="0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>
              <a:solidFill>
                <a:schemeClr val="bg1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cs-CZ" smtClean="0"/>
              <a:t>Click to add text</a:t>
            </a:r>
            <a:endParaRPr lang="cs-CZ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0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5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cs-CZ" noProof="0" smtClean="0"/>
              <a:t>Click to edit Master title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7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1.pn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228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227.xml"/><Relationship Id="rId9" Type="http://schemas.openxmlformats.org/officeDocument/2006/relationships/tags" Target="../tags/tag2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12" Type="http://schemas.openxmlformats.org/officeDocument/2006/relationships/image" Target="../media/image1.pn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237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236.xml"/><Relationship Id="rId9" Type="http://schemas.openxmlformats.org/officeDocument/2006/relationships/tags" Target="../tags/tag24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image" Target="../media/image1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246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1.png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8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86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4" Type="http://schemas.openxmlformats.org/officeDocument/2006/relationships/tags" Target="../tags/tag187.xml"/><Relationship Id="rId9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5" Type="http://schemas.openxmlformats.org/officeDocument/2006/relationships/tags" Target="../tags/tag194.xml"/><Relationship Id="rId10" Type="http://schemas.openxmlformats.org/officeDocument/2006/relationships/image" Target="../media/image1.png"/><Relationship Id="rId4" Type="http://schemas.openxmlformats.org/officeDocument/2006/relationships/tags" Target="../tags/tag193.xml"/><Relationship Id="rId9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1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201.xml"/><Relationship Id="rId10" Type="http://schemas.openxmlformats.org/officeDocument/2006/relationships/slideLayout" Target="../slideLayouts/slideLayout14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image" Target="../media/image1.png"/><Relationship Id="rId5" Type="http://schemas.openxmlformats.org/officeDocument/2006/relationships/tags" Target="../tags/tag210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209.xml"/><Relationship Id="rId9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image" Target="../media/image1.png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notesSlide" Target="../notesSlides/notesSlide9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218.xml"/><Relationship Id="rId10" Type="http://schemas.openxmlformats.org/officeDocument/2006/relationships/tags" Target="../tags/tag223.xml"/><Relationship Id="rId4" Type="http://schemas.openxmlformats.org/officeDocument/2006/relationships/tags" Target="../tags/tag217.xml"/><Relationship Id="rId9" Type="http://schemas.openxmlformats.org/officeDocument/2006/relationships/tags" Target="../tags/tag2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Právní a obchodní podstata </a:t>
            </a:r>
            <a:b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</a:br>
            <a: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TERM-SHEETU</a:t>
            </a:r>
            <a:endParaRPr lang="cs-CZ" sz="3600" dirty="0">
              <a:effectLst>
                <a:outerShdw blurRad="38100" dist="38100" dir="2700000" algn="tl">
                  <a:srgbClr val="C0C0C0"/>
                </a:outerShdw>
              </a:effectLst>
              <a:cs typeface="Arial" charset="0"/>
            </a:endParaRPr>
          </a:p>
        </p:txBody>
      </p:sp>
      <p:sp>
        <p:nvSpPr>
          <p:cNvPr id="55" name="Draft stamp" hidden="1"/>
          <p:cNvSpPr txBox="1"/>
          <p:nvPr>
            <p:custDataLst>
              <p:tags r:id="rId4"/>
            </p:custDataLst>
          </p:nvPr>
        </p:nvSpPr>
        <p:spPr>
          <a:xfrm>
            <a:off x="530351" y="3886200"/>
            <a:ext cx="13716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noProof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  <a:endParaRPr lang="en-GB" sz="1000" b="1" i="1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000" i="1" smtClean="0">
                <a:latin typeface="Georgia" pitchFamily="18" charset="0"/>
                <a:cs typeface="Arial" pitchFamily="34" charset="0"/>
              </a:rPr>
              <a:t>Důvěrné</a:t>
            </a:r>
            <a:endParaRPr lang="en-GB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Report Date"/>
          <p:cNvSpPr txBox="1"/>
          <p:nvPr>
            <p:custDataLst>
              <p:tags r:id="rId6"/>
            </p:custDataLst>
          </p:nvPr>
        </p:nvSpPr>
        <p:spPr bwMode="white">
          <a:xfrm>
            <a:off x="530351" y="4187953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 smtClean="0">
                <a:latin typeface="Georgia" pitchFamily="18" charset="0"/>
                <a:cs typeface="Arial" pitchFamily="34" charset="0"/>
              </a:rPr>
              <a:t>22. </a:t>
            </a:r>
            <a:r>
              <a:rPr lang="cs-CZ" sz="1000" i="1" dirty="0" smtClean="0">
                <a:latin typeface="Georgia" pitchFamily="18" charset="0"/>
                <a:cs typeface="Arial" pitchFamily="34" charset="0"/>
              </a:rPr>
              <a:t>března </a:t>
            </a:r>
            <a:r>
              <a:rPr lang="en-GB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2012</a:t>
            </a:r>
          </a:p>
        </p:txBody>
      </p:sp>
    </p:spTree>
    <p:custDataLst>
      <p:tags r:id="rId1"/>
    </p:custData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4433906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Dohoda o mlčenlivosti I</a:t>
            </a:r>
            <a:endParaRPr lang="en-GB" sz="2800" b="1" i="1" dirty="0" smtClean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2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0352" y="11430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530352" y="2212848"/>
            <a:ext cx="8997696" cy="441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80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4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9" name="Rectangle 4"/>
          <p:cNvSpPr>
            <a:spLocks noChangeArrowheads="1"/>
          </p:cNvSpPr>
          <p:nvPr/>
        </p:nvSpPr>
        <p:spPr bwMode="auto">
          <a:xfrm>
            <a:off x="534625" y="1534478"/>
            <a:ext cx="7777162" cy="3615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457200" indent="-457200">
              <a:spcBef>
                <a:spcPct val="50000"/>
              </a:spcBef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Nezbytnost zajištění ochrany důvěrných informací a obchodního tajemství v rámci </a:t>
            </a:r>
            <a:r>
              <a:rPr lang="cs-CZ" sz="2600" dirty="0" err="1">
                <a:latin typeface="+mj-lt"/>
              </a:rPr>
              <a:t>due</a:t>
            </a:r>
            <a:r>
              <a:rPr lang="cs-CZ" sz="2600" dirty="0">
                <a:latin typeface="+mj-lt"/>
              </a:rPr>
              <a:t> diligence</a:t>
            </a:r>
          </a:p>
          <a:p>
            <a:pPr marL="457200" indent="-457200">
              <a:spcBef>
                <a:spcPct val="50000"/>
              </a:spcBef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Obchodní tajemství: §17 a </a:t>
            </a:r>
            <a:r>
              <a:rPr lang="cs-CZ" sz="2600" dirty="0" err="1">
                <a:latin typeface="+mj-lt"/>
              </a:rPr>
              <a:t>násl</a:t>
            </a:r>
            <a:r>
              <a:rPr lang="cs-CZ" sz="2600" dirty="0">
                <a:latin typeface="+mj-lt"/>
              </a:rPr>
              <a:t>. Obchodního zákoníku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Ochrana informací předaných při jednání o smlouvě: §271 obchodního zákoníku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4595810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Dohoda o mlčenlivosti I</a:t>
            </a:r>
            <a:r>
              <a:rPr lang="en-US" sz="2800" b="1" i="1" dirty="0" smtClean="0">
                <a:latin typeface="+mj-lt"/>
              </a:rPr>
              <a:t>I</a:t>
            </a:r>
            <a:endParaRPr lang="en-GB" sz="2800" b="1" i="1" dirty="0" smtClean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2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0352" y="11430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530352" y="2212848"/>
            <a:ext cx="8997696" cy="441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80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4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6" name="Rectangle 4"/>
          <p:cNvSpPr>
            <a:spLocks noChangeArrowheads="1"/>
          </p:cNvSpPr>
          <p:nvPr/>
        </p:nvSpPr>
        <p:spPr bwMode="auto">
          <a:xfrm>
            <a:off x="468313" y="1528353"/>
            <a:ext cx="8280400" cy="4295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marL="457200" indent="-457200">
              <a:spcBef>
                <a:spcPct val="50000"/>
              </a:spcBef>
              <a:spcAft>
                <a:spcPct val="50000"/>
              </a:spcAft>
              <a:buFontTx/>
              <a:buNone/>
            </a:pPr>
            <a:r>
              <a:rPr lang="cs-CZ" sz="2600" dirty="0">
                <a:latin typeface="+mj-lt"/>
              </a:rPr>
              <a:t>Smlouva o důvěrnosti informací: 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definice důvěrných informací 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základní závazky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povinnost vrácení nebo zničení důvěrných informací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ochrana osobních údajů a jiné speciální předpisy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nápravné prostředky a řešení sporů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+mj-lt"/>
              </a:rPr>
              <a:t>trvání smlouvy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1096454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Závěr</a:t>
            </a:r>
            <a:endParaRPr lang="en-GB" sz="2800" b="1" i="1" dirty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2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0352" y="11430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530352" y="2212848"/>
            <a:ext cx="8997696" cy="441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80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4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7" name="Zástupný symbol pro text 2"/>
          <p:cNvSpPr txBox="1">
            <a:spLocks/>
          </p:cNvSpPr>
          <p:nvPr/>
        </p:nvSpPr>
        <p:spPr bwMode="hidden">
          <a:xfrm>
            <a:off x="2874918" y="3238046"/>
            <a:ext cx="4572000" cy="2052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/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charset="0"/>
              <a:buNone/>
            </a:pPr>
            <a:r>
              <a:rPr lang="cs-CZ" sz="3200" b="1" dirty="0" smtClean="0">
                <a:latin typeface="+mj-lt"/>
                <a:ea typeface="Arial Unicode MS" pitchFamily="34" charset="-128"/>
                <a:cs typeface="Arial Unicode MS" pitchFamily="34" charset="-128"/>
              </a:rPr>
              <a:t>Děkuji </a:t>
            </a:r>
            <a:r>
              <a:rPr lang="cs-CZ" sz="3200" b="1" dirty="0">
                <a:latin typeface="+mj-lt"/>
                <a:ea typeface="Arial Unicode MS" pitchFamily="34" charset="-128"/>
                <a:cs typeface="Arial Unicode MS" pitchFamily="34" charset="-128"/>
              </a:rPr>
              <a:t>za pozornost</a:t>
            </a:r>
          </a:p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charset="0"/>
              <a:buNone/>
            </a:pPr>
            <a:endParaRPr lang="cs-CZ" sz="3200" b="1" dirty="0"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</p:spTree>
    <p:custDataLst>
      <p:tags r:id="rId1"/>
    </p:custData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2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4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5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6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7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1543692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cs-CZ" sz="2800" b="1" i="1" dirty="0" smtClean="0">
                <a:latin typeface="+mj-lt"/>
              </a:rPr>
              <a:t>Definice</a:t>
            </a:r>
            <a:endParaRPr lang="en-GB" sz="2800" b="1" i="1" dirty="0">
              <a:latin typeface="+mj-lt"/>
              <a:cs typeface="Arial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+mj-lt"/>
              </a:rPr>
              <a:t>Dokument</a:t>
            </a:r>
            <a:r>
              <a:rPr lang="cs-CZ" sz="2600" dirty="0" smtClean="0">
                <a:latin typeface="+mj-lt"/>
              </a:rPr>
              <a:t>, který vymezuje základní strukturu a </a:t>
            </a:r>
            <a:r>
              <a:rPr lang="en-US" sz="2600" dirty="0" smtClean="0">
                <a:latin typeface="+mj-lt"/>
              </a:rPr>
              <a:t>       </a:t>
            </a:r>
            <a:r>
              <a:rPr lang="cs-CZ" sz="2600" dirty="0" smtClean="0">
                <a:latin typeface="+mj-lt"/>
              </a:rPr>
              <a:t>podmínky transakce (akvizice společnosti)</a:t>
            </a:r>
            <a:endParaRPr lang="en-US" sz="2600" dirty="0" smtClean="0">
              <a:latin typeface="+mj-lt"/>
            </a:endParaRPr>
          </a:p>
          <a:p>
            <a:pPr fontAlgn="t"/>
            <a:endParaRPr lang="en-US" sz="2600" dirty="0" smtClean="0">
              <a:latin typeface="+mj-lt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+mj-lt"/>
              </a:rPr>
              <a:t>Nemá pevně danou formu (neformální dokument)</a:t>
            </a:r>
            <a:endParaRPr lang="en-US" sz="2600" dirty="0" smtClean="0">
              <a:latin typeface="+mj-lt"/>
            </a:endParaRPr>
          </a:p>
          <a:p>
            <a:pPr fontAlgn="t"/>
            <a:endParaRPr lang="en-US" sz="2600" dirty="0" smtClean="0">
              <a:latin typeface="+mj-lt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+mj-lt"/>
              </a:rPr>
              <a:t>Většinou nezávazný indikativní dokument </a:t>
            </a:r>
            <a:br>
              <a:rPr lang="cs-CZ" sz="2600" dirty="0" smtClean="0">
                <a:latin typeface="+mj-lt"/>
              </a:rPr>
            </a:br>
            <a:r>
              <a:rPr lang="en-US" sz="2600" dirty="0" smtClean="0">
                <a:latin typeface="+mj-lt"/>
              </a:rPr>
              <a:t>   </a:t>
            </a:r>
            <a:r>
              <a:rPr lang="cs-CZ" sz="2600" dirty="0" smtClean="0">
                <a:latin typeface="+mj-lt"/>
              </a:rPr>
              <a:t>(nejedná se o smlouvu) </a:t>
            </a:r>
            <a:endParaRPr lang="en-US" sz="2600" dirty="0" smtClean="0">
              <a:latin typeface="+mj-lt"/>
            </a:endParaRPr>
          </a:p>
          <a:p>
            <a:pPr fontAlgn="t"/>
            <a:endParaRPr lang="en-US" sz="2600" dirty="0" smtClean="0">
              <a:latin typeface="+mj-lt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+mj-lt"/>
              </a:rPr>
              <a:t>Podmínky nastaveny stručně a přehledně v bodech</a:t>
            </a:r>
          </a:p>
          <a:p>
            <a:pPr fontAlgn="t"/>
            <a:endParaRPr lang="cs-CZ" dirty="0" smtClean="0">
              <a:latin typeface="+mj-lt"/>
            </a:endParaRPr>
          </a:p>
          <a:p>
            <a:pPr fontAlgn="t"/>
            <a:endParaRPr lang="cs-CZ" dirty="0" smtClean="0">
              <a:latin typeface="+mj-lt"/>
            </a:endParaRPr>
          </a:p>
          <a:p>
            <a:pPr fontAlgn="b"/>
            <a:endParaRPr lang="cs-CZ" dirty="0" smtClean="0">
              <a:latin typeface="+mj-lt"/>
            </a:endParaRPr>
          </a:p>
          <a:p>
            <a:endParaRPr lang="cs-CZ" dirty="0">
              <a:latin typeface="+mj-lt"/>
            </a:endParaRPr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5357236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cs-CZ" sz="2800" b="1" i="1" dirty="0" smtClean="0">
                <a:latin typeface="+mj-lt"/>
              </a:rPr>
              <a:t>Podoba, Funkce, Alternativa</a:t>
            </a:r>
            <a:endParaRPr lang="en-GB" sz="2800" i="1" dirty="0">
              <a:latin typeface="+mj-lt"/>
              <a:cs typeface="Arial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dirty="0" smtClean="0"/>
              <a:t>Podoba:</a:t>
            </a:r>
          </a:p>
          <a:p>
            <a:pPr marL="339725" indent="-339725">
              <a:lnSpc>
                <a:spcPct val="70000"/>
              </a:lnSpc>
            </a:pPr>
            <a:r>
              <a:rPr lang="cs-CZ" sz="2600" dirty="0" smtClean="0"/>
              <a:t>	- Jednostranný návrh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dirty="0" smtClean="0"/>
              <a:t>	- Dohoda dvou stran</a:t>
            </a:r>
            <a:endParaRPr lang="en-US" sz="2600" dirty="0" smtClean="0"/>
          </a:p>
          <a:p>
            <a:pPr marL="339725" indent="-339725">
              <a:spcAft>
                <a:spcPct val="20000"/>
              </a:spcAft>
            </a:pPr>
            <a:endParaRPr lang="cs-CZ" sz="2600" dirty="0" smtClean="0"/>
          </a:p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dirty="0" smtClean="0"/>
              <a:t>Funkce:</a:t>
            </a:r>
          </a:p>
          <a:p>
            <a:pPr marL="339725" indent="-339725">
              <a:lnSpc>
                <a:spcPct val="70000"/>
              </a:lnSpc>
            </a:pPr>
            <a:r>
              <a:rPr lang="cs-CZ" sz="2600" dirty="0" smtClean="0"/>
              <a:t>	- Ověřit stanovisko a očekávání prodávajícího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dirty="0" smtClean="0"/>
              <a:t>	- Nastavit podmínky transakce</a:t>
            </a:r>
            <a:endParaRPr lang="en-US" sz="2600" dirty="0" smtClean="0"/>
          </a:p>
          <a:p>
            <a:pPr marL="339725" indent="-339725">
              <a:spcAft>
                <a:spcPct val="20000"/>
              </a:spcAft>
            </a:pPr>
            <a:endParaRPr lang="cs-CZ" sz="2600" dirty="0" smtClean="0"/>
          </a:p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dirty="0" smtClean="0"/>
              <a:t>Alternativa k TERM SHEETU: LOI</a:t>
            </a:r>
          </a:p>
          <a:p>
            <a:pPr marL="339725" indent="-339725"/>
            <a:r>
              <a:rPr lang="cs-CZ" sz="2600" dirty="0" smtClean="0"/>
              <a:t>	- Vyjádření zájmu, Dohoda o záměru,…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dirty="0" smtClean="0"/>
              <a:t>	- forma dopisu</a:t>
            </a:r>
          </a:p>
          <a:p>
            <a:endParaRPr lang="en-GB" sz="2600" dirty="0" smtClean="0"/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3861635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cs-CZ" sz="2800" b="1" i="1" dirty="0" smtClean="0">
                <a:latin typeface="+mj-lt"/>
              </a:rPr>
              <a:t>Procesní dokumenty</a:t>
            </a:r>
            <a:endParaRPr lang="en-GB" sz="2800" b="1" i="1" dirty="0">
              <a:latin typeface="+mj-lt"/>
              <a:cs typeface="Arial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27074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r>
              <a:rPr kumimoji="0" lang="cs-CZ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DA 	</a:t>
            </a: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– Non Disclosure Agreement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		» Confidentiality Agreement (CA)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tx1"/>
              </a:buClr>
              <a:buSzTx/>
              <a:buFontTx/>
              <a:buNone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			» Confidential Disclosure Agreement (CDA)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I  	– Letter of Intent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S 	– Term Sheet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OU 	– Memorandum of Understanding</a:t>
            </a:r>
          </a:p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r>
              <a:rPr kumimoji="0" lang="en-US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A 	– Share Purchase Agreement</a:t>
            </a: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7" name="Right Arrow 56"/>
          <p:cNvSpPr/>
          <p:nvPr/>
        </p:nvSpPr>
        <p:spPr>
          <a:xfrm>
            <a:off x="1772194" y="1301931"/>
            <a:ext cx="7289075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+mj-lt"/>
                <a:cs typeface="Arial" charset="0"/>
              </a:rPr>
              <a:t>NDA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	     				     </a:t>
            </a:r>
            <a:r>
              <a:rPr lang="en-US" sz="2400" b="1" dirty="0" smtClean="0">
                <a:latin typeface="+mj-lt"/>
                <a:cs typeface="Arial" charset="0"/>
              </a:rPr>
              <a:t>SPA</a:t>
            </a:r>
            <a:endParaRPr lang="cs-CZ" sz="2400" b="1" dirty="0">
              <a:latin typeface="+mj-lt"/>
              <a:cs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130732" y="2516776"/>
            <a:ext cx="43629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+mj-lt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+mj-lt"/>
                <a:cs typeface="Arial" charset="0"/>
              </a:rPr>
              <a:t>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  </a:t>
            </a:r>
            <a:r>
              <a:rPr lang="en-US" sz="2800" b="1" dirty="0" smtClean="0">
                <a:latin typeface="+mj-lt"/>
                <a:cs typeface="Arial" charset="0"/>
              </a:rPr>
              <a:t>MOU </a:t>
            </a:r>
            <a:endParaRPr lang="cs-CZ" sz="2800" dirty="0" smtClean="0">
              <a:latin typeface="+mj-lt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4177426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cs-CZ" sz="2800" b="1" i="1" dirty="0" smtClean="0">
                <a:latin typeface="+mj-lt"/>
              </a:rPr>
              <a:t>Procesní </a:t>
            </a:r>
            <a:r>
              <a:rPr lang="cs-CZ" sz="2800" b="1" i="1" dirty="0" smtClean="0">
                <a:latin typeface="+mj-lt"/>
              </a:rPr>
              <a:t>dokumenty</a:t>
            </a:r>
            <a:r>
              <a:rPr lang="en-US" sz="2800" b="1" i="1" dirty="0" smtClean="0">
                <a:latin typeface="+mj-lt"/>
              </a:rPr>
              <a:t> </a:t>
            </a:r>
            <a:r>
              <a:rPr lang="en-US" sz="2800" b="1" i="1" dirty="0" smtClean="0">
                <a:latin typeface="+mj-lt"/>
              </a:rPr>
              <a:t>2</a:t>
            </a:r>
            <a:endParaRPr lang="en-GB" sz="2800" b="1" i="1" dirty="0">
              <a:latin typeface="+mj-lt"/>
              <a:cs typeface="Arial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30059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I / TS / MOU – obdobný účel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závazné vyjádření jedné strany, případně nezávazná dohoda dvou a více stran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ozdíly v podobě LOI/TS 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ozdíl ve formě TS/MOU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3" name="Right Arrow 62"/>
          <p:cNvSpPr/>
          <p:nvPr/>
        </p:nvSpPr>
        <p:spPr>
          <a:xfrm>
            <a:off x="1785258" y="1301931"/>
            <a:ext cx="7276011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+mj-lt"/>
                <a:cs typeface="Arial" charset="0"/>
              </a:rPr>
              <a:t>NDA</a:t>
            </a:r>
            <a:r>
              <a:rPr lang="en-US" b="1" dirty="0" smtClean="0">
                <a:latin typeface="Verdana" pitchFamily="34" charset="0"/>
                <a:cs typeface="Arial" charset="0"/>
              </a:rPr>
              <a:t>	      				      </a:t>
            </a:r>
            <a:r>
              <a:rPr lang="en-US" sz="2400" b="1" dirty="0" smtClean="0">
                <a:latin typeface="+mj-lt"/>
                <a:cs typeface="Arial" charset="0"/>
              </a:rPr>
              <a:t>SPA</a:t>
            </a:r>
            <a:endParaRPr lang="cs-CZ" sz="2400" b="1" dirty="0">
              <a:latin typeface="+mj-lt"/>
              <a:cs typeface="Arial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130732" y="2516776"/>
            <a:ext cx="4362994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+mj-lt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+mj-lt"/>
                <a:cs typeface="Arial" charset="0"/>
              </a:rPr>
              <a:t>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  </a:t>
            </a:r>
            <a:r>
              <a:rPr lang="en-US" sz="2800" b="1" dirty="0" smtClean="0">
                <a:latin typeface="+mj-lt"/>
                <a:cs typeface="Arial" charset="0"/>
              </a:rPr>
              <a:t>MOU </a:t>
            </a:r>
            <a:endParaRPr lang="cs-CZ" sz="2800" dirty="0" smtClean="0">
              <a:latin typeface="+mj-lt"/>
              <a:cs typeface="Arial" pitchFamily="34" charset="0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3383940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590550" lvl="0" indent="-59055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Závazná ujednání</a:t>
            </a:r>
            <a:endParaRPr lang="en-US" sz="2800" b="1" i="1" dirty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25837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Sub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69689" y="1706879"/>
            <a:ext cx="8997696" cy="3677930"/>
          </a:xfrm>
          <a:prstGeom prst="rect">
            <a:avLst/>
          </a:prstGeom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Cena 					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Podmínky ceny				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Termíny				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	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Exkluzivita				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Mlčenlivost kupující		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	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Mlčenlivost prodávající 	</a:t>
            </a:r>
            <a:r>
              <a:rPr kumimoji="0" lang="en-US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	</a:t>
            </a:r>
            <a:r>
              <a:rPr kumimoji="0" lang="cs-CZ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ANO/N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5873403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Proces z pohledu prodávajícího</a:t>
            </a:r>
            <a:endParaRPr lang="en-GB" sz="2800" b="1" i="1" dirty="0" smtClean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Title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518159"/>
          </a:xfrm>
          <a:prstGeom prst="rect">
            <a:avLst/>
          </a:prstGeom>
        </p:spPr>
        <p:txBody>
          <a:bodyPr/>
          <a:lstStyle/>
          <a:p>
            <a:pPr marL="590550" marR="0" lvl="0" indent="-59055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82752" y="3614057"/>
            <a:ext cx="8997696" cy="92845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6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cs-CZ" sz="2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62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4" name="Right Arrow 63"/>
          <p:cNvSpPr/>
          <p:nvPr/>
        </p:nvSpPr>
        <p:spPr>
          <a:xfrm>
            <a:off x="1785258" y="1301931"/>
            <a:ext cx="7276011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+mj-lt"/>
                <a:cs typeface="Arial" charset="0"/>
              </a:rPr>
              <a:t>NDA</a:t>
            </a:r>
            <a:r>
              <a:rPr lang="en-US" b="1" dirty="0" smtClean="0">
                <a:latin typeface="Verdana" pitchFamily="34" charset="0"/>
                <a:cs typeface="Arial" charset="0"/>
              </a:rPr>
              <a:t>	      				      </a:t>
            </a:r>
            <a:r>
              <a:rPr lang="en-US" sz="2400" b="1" dirty="0" smtClean="0">
                <a:latin typeface="+mj-lt"/>
                <a:cs typeface="Arial" charset="0"/>
              </a:rPr>
              <a:t>SPA</a:t>
            </a:r>
            <a:endParaRPr lang="cs-CZ" sz="2400" b="1" dirty="0">
              <a:latin typeface="+mj-lt"/>
              <a:cs typeface="Arial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130732" y="2516776"/>
            <a:ext cx="4362994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+mj-lt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+mj-lt"/>
                <a:cs typeface="Arial" charset="0"/>
              </a:rPr>
              <a:t>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  </a:t>
            </a:r>
            <a:r>
              <a:rPr lang="en-US" sz="2800" b="1" dirty="0" smtClean="0">
                <a:latin typeface="+mj-lt"/>
                <a:cs typeface="Arial" charset="0"/>
              </a:rPr>
              <a:t>MOU </a:t>
            </a:r>
            <a:endParaRPr lang="cs-CZ" sz="2800" dirty="0" smtClean="0">
              <a:latin typeface="+mj-lt"/>
              <a:cs typeface="Arial" pitchFamily="34" charset="0"/>
            </a:endParaRPr>
          </a:p>
        </p:txBody>
      </p:sp>
      <p:sp>
        <p:nvSpPr>
          <p:cNvPr id="68" name="Text Box 10"/>
          <p:cNvSpPr txBox="1">
            <a:spLocks noChangeArrowheads="1"/>
          </p:cNvSpPr>
          <p:nvPr/>
        </p:nvSpPr>
        <p:spPr bwMode="auto">
          <a:xfrm>
            <a:off x="1509713" y="4733925"/>
            <a:ext cx="806631" cy="4001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>
                <a:solidFill>
                  <a:srgbClr val="000000"/>
                </a:solidFill>
                <a:latin typeface="+mj-lt"/>
                <a:cs typeface="Arial" charset="0"/>
              </a:rPr>
              <a:t>NDA</a:t>
            </a:r>
          </a:p>
        </p:txBody>
      </p:sp>
      <p:sp>
        <p:nvSpPr>
          <p:cNvPr id="69" name="Text Box 11"/>
          <p:cNvSpPr txBox="1">
            <a:spLocks noChangeArrowheads="1"/>
          </p:cNvSpPr>
          <p:nvPr/>
        </p:nvSpPr>
        <p:spPr bwMode="auto">
          <a:xfrm>
            <a:off x="2477770" y="4733925"/>
            <a:ext cx="2266967" cy="4001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b="1" dirty="0" smtClean="0">
                <a:solidFill>
                  <a:srgbClr val="FF0000"/>
                </a:solidFill>
                <a:latin typeface="+mj-lt"/>
                <a:cs typeface="Arial" charset="0"/>
              </a:rPr>
              <a:t>Indicative Offer</a:t>
            </a:r>
            <a:endParaRPr lang="en-US" b="1" dirty="0">
              <a:solidFill>
                <a:srgbClr val="FF0000"/>
              </a:solidFill>
              <a:latin typeface="+mj-lt"/>
              <a:cs typeface="Arial" charset="0"/>
            </a:endParaRPr>
          </a:p>
        </p:txBody>
      </p:sp>
      <p:sp>
        <p:nvSpPr>
          <p:cNvPr id="70" name="Text Box 12"/>
          <p:cNvSpPr txBox="1">
            <a:spLocks noChangeArrowheads="1"/>
          </p:cNvSpPr>
          <p:nvPr/>
        </p:nvSpPr>
        <p:spPr bwMode="auto">
          <a:xfrm>
            <a:off x="5188495" y="4733925"/>
            <a:ext cx="1701107" cy="4001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>
                <a:solidFill>
                  <a:srgbClr val="000000"/>
                </a:solidFill>
                <a:latin typeface="+mj-lt"/>
                <a:cs typeface="Arial" charset="0"/>
              </a:rPr>
              <a:t>Term </a:t>
            </a:r>
            <a:r>
              <a:rPr lang="en-US" b="1" dirty="0" smtClean="0">
                <a:solidFill>
                  <a:srgbClr val="000000"/>
                </a:solidFill>
                <a:latin typeface="+mj-lt"/>
                <a:cs typeface="Arial" charset="0"/>
              </a:rPr>
              <a:t>Sheet</a:t>
            </a:r>
            <a:endParaRPr lang="en-US" b="1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71" name="Text Box 13"/>
          <p:cNvSpPr txBox="1">
            <a:spLocks noChangeArrowheads="1"/>
          </p:cNvSpPr>
          <p:nvPr/>
        </p:nvSpPr>
        <p:spPr bwMode="auto">
          <a:xfrm>
            <a:off x="7623403" y="4681673"/>
            <a:ext cx="1752403" cy="7078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b="1" dirty="0" smtClean="0">
                <a:solidFill>
                  <a:srgbClr val="FF0000"/>
                </a:solidFill>
                <a:latin typeface="+mj-lt"/>
                <a:cs typeface="Arial" charset="0"/>
              </a:rPr>
              <a:t>Binding Bid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 smtClean="0">
                <a:solidFill>
                  <a:srgbClr val="FF0000"/>
                </a:solidFill>
                <a:latin typeface="+mj-lt"/>
                <a:cs typeface="Arial" charset="0"/>
              </a:rPr>
              <a:t>(</a:t>
            </a:r>
            <a:r>
              <a:rPr lang="cs-CZ" b="1" dirty="0">
                <a:solidFill>
                  <a:srgbClr val="FF0000"/>
                </a:solidFill>
                <a:latin typeface="+mj-lt"/>
                <a:cs typeface="Arial" charset="0"/>
              </a:rPr>
              <a:t>SPA)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4320093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Použití TERM-SHEETU</a:t>
            </a:r>
            <a:endParaRPr lang="en-GB" sz="2800" b="1" i="1" dirty="0" smtClean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2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0352" y="11430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517289" y="1350699"/>
            <a:ext cx="8997696" cy="441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80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áleží na: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astavení procesu (formální/neformální)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ypu investora (finanční/strategický)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4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Zkušenostech a zvyklostech investora (lokální čeští investoři, Evropa, USA, Indie,…) 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… kulturní rozdíly, standardy v M</a:t>
            </a:r>
            <a:r>
              <a: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&amp;A</a:t>
            </a:r>
            <a:r>
              <a:rPr kumimoji="0" lang="cs-CZ" sz="2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odhad aktuální situace,…</a:t>
            </a: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4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7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4209486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cs-CZ" sz="2800" b="1" i="1" dirty="0" smtClean="0">
                <a:latin typeface="+mj-lt"/>
              </a:rPr>
              <a:t>Obsah TERM-SHEETU</a:t>
            </a:r>
            <a:endParaRPr lang="en-GB" sz="2800" b="1" i="1" dirty="0">
              <a:latin typeface="+mj-lt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r>
              <a:rPr lang="en-GB" sz="2600" dirty="0" smtClean="0"/>
              <a:t> </a:t>
            </a:r>
            <a:endParaRPr lang="en-GB" sz="2600" dirty="0" smtClean="0"/>
          </a:p>
        </p:txBody>
      </p:sp>
      <p:sp>
        <p:nvSpPr>
          <p:cNvPr id="5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2752" y="3614057"/>
            <a:ext cx="8997696" cy="3754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marR="0" lvl="0" indent="-361950" algn="l" defTabSz="101882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>
                <a:tab pos="1257300" algn="l"/>
                <a:tab pos="1524000" algn="l"/>
              </a:tabLst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0" name="Content Placeholder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27017" y="3614060"/>
            <a:ext cx="9053431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1" name="Title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6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Title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82752" y="1295400"/>
            <a:ext cx="8997696" cy="518159"/>
          </a:xfrm>
          <a:prstGeom prst="rect">
            <a:avLst/>
          </a:prstGeom>
        </p:spPr>
        <p:txBody>
          <a:bodyPr/>
          <a:lstStyle/>
          <a:p>
            <a:pPr marL="590550" marR="0" lvl="0" indent="-59055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2" name="Title 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682752" y="12954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2" name="Title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30352" y="1143000"/>
            <a:ext cx="8997696" cy="4308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530352" y="2212848"/>
            <a:ext cx="8997696" cy="4416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8000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endParaRPr kumimoji="0" lang="cs-CZ" sz="2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Subtitle 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923108" y="1524000"/>
            <a:ext cx="8757339" cy="4478149"/>
          </a:xfrm>
          <a:prstGeom prst="rect">
            <a:avLst/>
          </a:prstGeom>
        </p:spPr>
        <p:txBody>
          <a:bodyPr/>
          <a:lstStyle/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Předmět prodeje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Cena, stanovení ceny a úhrada ceny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Podmínky realizace transakce, platební podmínky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Časový harmonogram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Základní rozsah prohlášení a záruk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Mlčenlivost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Exkluzivita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Řešení sporů, smluvní pokuta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Vedlejší ujednání (tzv.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Side Letter</a:t>
            </a: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)</a:t>
            </a:r>
          </a:p>
          <a:p>
            <a:pPr marL="339725" marR="0" lvl="0" indent="-339725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Ostatní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TOCAPPENDIXTEXT" val="Appendices"/>
  <p:tag name="TABLEHEADERFONTSIZE" val="20"/>
  <p:tag name="TABLESTYLEID" val="{D5C30875-5027-47A9-8995-C2BF9F8F2FF4}"/>
  <p:tag name="TABLEDEFAULTFONTSIZE" val="18"/>
  <p:tag name="TOCTEXT" val="Agenda"/>
  <p:tag name="SHOWPRESENTATIONDISCLAIMER" val="No"/>
  <p:tag name="TOCPAGETEXT" val="Page"/>
  <p:tag name="DESCRIPTOR" val="Business Unit"/>
  <p:tag name="PRESENTATIONDISCLAIMER" val="No Disclaimer"/>
  <p:tag name="SMARTTOCSLIDENUMBER" val="2"/>
  <p:tag name="PICTURE" val="[New Brand] Suvarnabhumi Airport"/>
  <p:tag name="GRIDON" val="No"/>
  <p:tag name="THINKCELLUNDODONOTDELETE" val="1"/>
  <p:tag name="SUBTITLE" val="Insert Subtitle"/>
  <p:tag name="SMARTTOCSTYLE" val="Presentation Agenda  [new brand]"/>
  <p:tag name="SHOW DRAFT STAMP" val="No"/>
  <p:tag name="SHOW DATE FILEPATH" val="No"/>
  <p:tag name="PRESENTATION THEME COLOR" val="PwC Burgundy"/>
  <p:tag name="LANGUAGE" val="English (UK)"/>
  <p:tag name="HASFRONTIMAGE" val="Yes"/>
  <p:tag name="BUSINESSUNITCOVERTEXT" val="Research"/>
  <p:tag name="TITLE" val="Akvizice a financování společností v národním a mezinárodním prostředí"/>
  <p:tag name="DRAFT STAMP" val="Draft"/>
  <p:tag name="CONFIDENTIALITY STAMP" val="Důvěrné"/>
  <p:tag name="REPORT DATE" val="13. října 2011"/>
  <p:tag name="TOCPAGETEXT}{@TOCPAGELANGUAGETEXT" val="Stra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heme/theme1.xml><?xml version="1.0" encoding="utf-8"?>
<a:theme xmlns:a="http://schemas.openxmlformats.org/drawingml/2006/main" name="_Presentation - Research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_Presentation - Research</Template>
  <TotalTime>263</TotalTime>
  <Words>283</Words>
  <Application>Microsoft Office PowerPoint</Application>
  <PresentationFormat>Custom</PresentationFormat>
  <Paragraphs>109</Paragraphs>
  <Slides>12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_Presentation - Research</vt:lpstr>
      <vt:lpstr>Právní a obchodní podstata  TERM-SHEETU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</vt:vector>
  </TitlesOfParts>
  <Company>PricewaterhouseCoop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vizice a financování společností v národním a mezinárodním prostředí</dc:title>
  <dc:subject/>
  <dc:creator>dsmutny001</dc:creator>
  <dc:description>Smart Presentation</dc:description>
  <cp:lastModifiedBy>Full Name</cp:lastModifiedBy>
  <cp:revision>25</cp:revision>
  <dcterms:created xsi:type="dcterms:W3CDTF">2011-10-13T09:54:40Z</dcterms:created>
  <dcterms:modified xsi:type="dcterms:W3CDTF">2012-03-22T15:1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0204v2</vt:lpwstr>
  </property>
</Properties>
</file>